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4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6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8" r:id="rId4"/>
  </p:sldMasterIdLst>
  <p:notesMasterIdLst>
    <p:notesMasterId r:id="rId15"/>
  </p:notesMasterIdLst>
  <p:sldIdLst>
    <p:sldId id="3284" r:id="rId5"/>
    <p:sldId id="2569" r:id="rId6"/>
    <p:sldId id="3275" r:id="rId7"/>
    <p:sldId id="2542" r:id="rId8"/>
    <p:sldId id="3277" r:id="rId9"/>
    <p:sldId id="3283" r:id="rId10"/>
    <p:sldId id="3285" r:id="rId11"/>
    <p:sldId id="3288" r:id="rId12"/>
    <p:sldId id="3289" r:id="rId13"/>
    <p:sldId id="2558" r:id="rId14"/>
  </p:sldIdLst>
  <p:sldSz cx="9144000" cy="5143500" type="screen16x9"/>
  <p:notesSz cx="6858000" cy="9144000"/>
  <p:custDataLst>
    <p:tags r:id="rId1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385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ruettner, Arne" initials="GA" lastIdx="10" clrIdx="0">
    <p:extLst>
      <p:ext uri="{19B8F6BF-5375-455C-9EA6-DF929625EA0E}">
        <p15:presenceInfo xmlns:p15="http://schemas.microsoft.com/office/powerpoint/2012/main" userId="S::Arne.Gruettner@unisg.ch::2971ee8c-595f-49a9-a08f-823427620ef2" providerId="AD"/>
      </p:ext>
    </p:extLst>
  </p:cmAuthor>
  <p:cmAuthor id="2" name="Beyer, Samuel" initials="BS" lastIdx="1" clrIdx="1">
    <p:extLst>
      <p:ext uri="{19B8F6BF-5375-455C-9EA6-DF929625EA0E}">
        <p15:presenceInfo xmlns:p15="http://schemas.microsoft.com/office/powerpoint/2012/main" userId="S::samuel.beyer@student.unisg.ch::d8fe2b17-9273-41df-a496-02f403512a9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7941E"/>
    <a:srgbClr val="9DE7C6"/>
    <a:srgbClr val="249662"/>
    <a:srgbClr val="7F7F7F"/>
    <a:srgbClr val="0067B1"/>
    <a:srgbClr val="95C7E8"/>
    <a:srgbClr val="8FBFA9"/>
    <a:srgbClr val="76BEEA"/>
    <a:srgbClr val="EF4023"/>
    <a:srgbClr val="FFDE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6E25E649-3F16-4E02-A733-19D2CDBF48F0}" styleName="Mittlere Formatvorlage 3 - Akz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837"/>
    <p:restoredTop sz="95788"/>
  </p:normalViewPr>
  <p:slideViewPr>
    <p:cSldViewPr snapToGrid="0">
      <p:cViewPr varScale="1">
        <p:scale>
          <a:sx n="104" d="100"/>
          <a:sy n="104" d="100"/>
        </p:scale>
        <p:origin x="192" y="864"/>
      </p:cViewPr>
      <p:guideLst>
        <p:guide orient="horz" pos="1620"/>
        <p:guide pos="385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02D8B8C-A07F-4F86-91C0-8300805952DE}" type="datetimeFigureOut">
              <a:rPr lang="de-DE" smtClean="0"/>
              <a:pPr/>
              <a:t>12.01.21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281C78C-DF60-43AA-9025-896AF7F51202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4366927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281C78C-DF60-43AA-9025-896AF7F51202}" type="slidenum">
              <a:rPr lang="de-CH" smtClean="0"/>
              <a:pPr/>
              <a:t>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392913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364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A36A7-0C05-F244-A0FB-C9E81706BC91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536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966279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364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A36A7-0C05-F244-A0FB-C9E81706BC91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536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9460528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364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A36A7-0C05-F244-A0FB-C9E81706BC91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536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3039264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364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A36A7-0C05-F244-A0FB-C9E81706BC91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536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700425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364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A36A7-0C05-F244-A0FB-C9E81706BC91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536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1157891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364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A36A7-0C05-F244-A0FB-C9E81706BC91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536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183869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/>
          <p:cNvSpPr>
            <a:spLocks noGrp="1"/>
          </p:cNvSpPr>
          <p:nvPr>
            <p:ph type="pic" sz="quarter" idx="10" hasCustomPrompt="1"/>
          </p:nvPr>
        </p:nvSpPr>
        <p:spPr>
          <a:xfrm>
            <a:off x="179512" y="975658"/>
            <a:ext cx="8751600" cy="2859788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CH"/>
              <a:t>Titelbild</a:t>
            </a:r>
            <a:endParaRPr lang="en-US"/>
          </a:p>
        </p:txBody>
      </p:sp>
      <p:pic>
        <p:nvPicPr>
          <p:cNvPr id="1026" name="Picture 2" descr="Bildergebnis fÃ¼r from insight to impac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25939" y="4494378"/>
            <a:ext cx="1505173" cy="2972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194037"/>
            <a:ext cx="1944216" cy="7042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hteck 13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673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Gerader Verbinder 4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hteck 7"/>
          <p:cNvSpPr/>
          <p:nvPr userDrawn="1"/>
        </p:nvSpPr>
        <p:spPr>
          <a:xfrm>
            <a:off x="791580" y="1216968"/>
            <a:ext cx="7560840" cy="3260898"/>
          </a:xfrm>
          <a:prstGeom prst="rect">
            <a:avLst/>
          </a:prstGeom>
          <a:solidFill>
            <a:schemeClr val="tx2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hteck 9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pic>
        <p:nvPicPr>
          <p:cNvPr id="11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6904" y="218979"/>
            <a:ext cx="1296144" cy="469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5091146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cxnSp>
        <p:nvCxnSpPr>
          <p:cNvPr id="5" name="Gerader Verbinder 4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6904" y="218979"/>
            <a:ext cx="1296144" cy="469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/>
          <p:cNvSpPr>
            <a:spLocks noGrp="1"/>
          </p:cNvSpPr>
          <p:nvPr>
            <p:ph type="pic" sz="quarter" idx="10"/>
          </p:nvPr>
        </p:nvSpPr>
        <p:spPr>
          <a:xfrm>
            <a:off x="287524" y="934616"/>
            <a:ext cx="8532626" cy="374374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6" name="Rechteck 5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cxnSp>
        <p:nvCxnSpPr>
          <p:cNvPr id="7" name="Gerader Verbinder 6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6904" y="218979"/>
            <a:ext cx="1296144" cy="469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612512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9"/>
          <p:cNvSpPr>
            <a:spLocks noGrp="1"/>
          </p:cNvSpPr>
          <p:nvPr>
            <p:ph type="pic" sz="quarter" idx="12"/>
          </p:nvPr>
        </p:nvSpPr>
        <p:spPr>
          <a:xfrm>
            <a:off x="4638663" y="934616"/>
            <a:ext cx="4178628" cy="374374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0"/>
          </p:nvPr>
        </p:nvSpPr>
        <p:spPr>
          <a:xfrm>
            <a:off x="287524" y="934616"/>
            <a:ext cx="4178628" cy="374374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6" name="Rechteck 5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cxnSp>
        <p:nvCxnSpPr>
          <p:cNvPr id="7" name="Gerader Verbinder 6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6904" y="218979"/>
            <a:ext cx="1296144" cy="469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886963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/>
          <p:cNvSpPr>
            <a:spLocks noGrp="1"/>
          </p:cNvSpPr>
          <p:nvPr>
            <p:ph type="pic" sz="quarter" idx="10"/>
          </p:nvPr>
        </p:nvSpPr>
        <p:spPr>
          <a:xfrm>
            <a:off x="287524" y="934616"/>
            <a:ext cx="4178628" cy="374374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9" name="Bildplatzhalter 9"/>
          <p:cNvSpPr>
            <a:spLocks noGrp="1"/>
          </p:cNvSpPr>
          <p:nvPr>
            <p:ph type="pic" sz="quarter" idx="11"/>
          </p:nvPr>
        </p:nvSpPr>
        <p:spPr>
          <a:xfrm>
            <a:off x="4641844" y="934617"/>
            <a:ext cx="4178628" cy="18002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1" name="Bildplatzhalter 9"/>
          <p:cNvSpPr>
            <a:spLocks noGrp="1"/>
          </p:cNvSpPr>
          <p:nvPr>
            <p:ph type="pic" sz="quarter" idx="12"/>
          </p:nvPr>
        </p:nvSpPr>
        <p:spPr>
          <a:xfrm>
            <a:off x="4638663" y="2878163"/>
            <a:ext cx="4178628" cy="18002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6" name="Rechteck 5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cxnSp>
        <p:nvCxnSpPr>
          <p:cNvPr id="7" name="Gerader Verbinder 6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6904" y="218979"/>
            <a:ext cx="1296144" cy="469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245788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afulat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cxnSp>
        <p:nvCxnSpPr>
          <p:cNvPr id="5" name="Gerader Verbinder 4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2435000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250300"/>
            <a:ext cx="2133600" cy="273844"/>
          </a:xfrm>
          <a:prstGeom prst="rect">
            <a:avLst/>
          </a:prstGeom>
        </p:spPr>
        <p:txBody>
          <a:bodyPr/>
          <a:lstStyle/>
          <a:p>
            <a:r>
              <a:rPr lang="en-US"/>
              <a:t>www.bestppt.com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61305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efaul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cxnSp>
        <p:nvCxnSpPr>
          <p:cNvPr id="5" name="Gerader Verbinder 4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76904" y="218979"/>
            <a:ext cx="1296144" cy="469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D84986A-2463-A242-B256-5936AABCAC3C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87338" y="842963"/>
            <a:ext cx="8569325" cy="4033827"/>
          </a:xfrm>
          <a:prstGeom prst="rect">
            <a:avLst/>
          </a:prstGeom>
        </p:spPr>
        <p:txBody>
          <a:bodyPr/>
          <a:lstStyle>
            <a:lvl1pPr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5562083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3072">
          <p15:clr>
            <a:srgbClr val="FBAE40"/>
          </p15:clr>
        </p15:guide>
        <p15:guide id="6" orient="horz" pos="53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D4B1072E-7971-FC4E-BAC1-AD84362693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4683206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6" name="think-cell Folie" r:id="rId13" imgW="7772400" imgH="10058400" progId="TCLayout.ActiveDocument.1">
                  <p:embed/>
                </p:oleObj>
              </mc:Choice>
              <mc:Fallback>
                <p:oleObj name="think-cell Folie" r:id="rId13" imgW="7772400" imgH="10058400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D4B1072E-7971-FC4E-BAC1-AD84362693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0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</p:sldLayoutIdLst>
  <p:hf hdr="0" ftr="0" dt="0"/>
  <p:txStyles>
    <p:titleStyle>
      <a:lvl1pPr algn="l" defTabSz="685783" rtl="0" eaLnBrk="1" latinLnBrk="0" hangingPunct="1">
        <a:spcBef>
          <a:spcPct val="0"/>
        </a:spcBef>
        <a:buNone/>
        <a:defRPr sz="225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342892" indent="-342892" algn="l" defTabSz="685783" rtl="0" eaLnBrk="1" latinLnBrk="0" hangingPunct="1">
        <a:spcBef>
          <a:spcPct val="20000"/>
        </a:spcBef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57199" indent="-214308" algn="l" defTabSz="685783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28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20" indent="-171446" algn="l" defTabSz="685783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12" indent="-171446" algn="l" defTabSz="685783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3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6.tiff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9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9.emf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9.emf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9.emf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9.emf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9.emf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6553200" y="4723820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0D1EDE-7116-2443-9BDD-368CE5B37660}" type="slidenum">
              <a:rPr lang="en-US" smtClean="0"/>
              <a:pPr/>
              <a:t>1</a:t>
            </a:fld>
            <a:endParaRPr lang="en-US"/>
          </a:p>
        </p:txBody>
      </p:sp>
      <p:sp>
        <p:nvSpPr>
          <p:cNvPr id="44" name="Line 5"/>
          <p:cNvSpPr>
            <a:spLocks noChangeShapeType="1"/>
          </p:cNvSpPr>
          <p:nvPr/>
        </p:nvSpPr>
        <p:spPr bwMode="auto">
          <a:xfrm>
            <a:off x="560388" y="-655638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" name="Line 6"/>
          <p:cNvSpPr>
            <a:spLocks noChangeShapeType="1"/>
          </p:cNvSpPr>
          <p:nvPr/>
        </p:nvSpPr>
        <p:spPr bwMode="auto">
          <a:xfrm>
            <a:off x="560388" y="-655638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8" name="TextBox 157"/>
          <p:cNvSpPr txBox="1"/>
          <p:nvPr/>
        </p:nvSpPr>
        <p:spPr>
          <a:xfrm>
            <a:off x="706210" y="3244456"/>
            <a:ext cx="3171702" cy="707886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de-CH" sz="1000" dirty="0"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Philipp Schmelzer, </a:t>
            </a:r>
            <a:r>
              <a:rPr lang="de-CH" sz="1000" dirty="0">
                <a:latin typeface="Arial" panose="020B0604020202020204" pitchFamily="34" charset="0"/>
                <a:cs typeface="Arial" panose="020B0604020202020204" pitchFamily="34" charset="0"/>
              </a:rPr>
              <a:t>Masterarbeit</a:t>
            </a:r>
          </a:p>
          <a:p>
            <a:endParaRPr lang="de-CH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CH" sz="1000" dirty="0">
                <a:latin typeface="Arial" panose="020B0604020202020204" pitchFamily="34" charset="0"/>
                <a:cs typeface="Arial" panose="020B0604020202020204" pitchFamily="34" charset="0"/>
              </a:rPr>
              <a:t>3. November 2020</a:t>
            </a:r>
          </a:p>
          <a:p>
            <a:r>
              <a:rPr lang="de-CH" sz="1000" dirty="0"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 </a:t>
            </a:r>
            <a:endParaRPr lang="en-US" sz="1000" dirty="0"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160" name="Rectangle 159"/>
          <p:cNvSpPr/>
          <p:nvPr/>
        </p:nvSpPr>
        <p:spPr>
          <a:xfrm>
            <a:off x="711587" y="1191525"/>
            <a:ext cx="4336663" cy="2092881"/>
          </a:xfrm>
          <a:prstGeom prst="rect">
            <a:avLst/>
          </a:prstGeom>
        </p:spPr>
        <p:txBody>
          <a:bodyPr wrap="square" lIns="0" anchor="t">
            <a:spAutoFit/>
          </a:bodyPr>
          <a:lstStyle/>
          <a:p>
            <a:r>
              <a:rPr lang="de-CH" sz="2400" b="1" dirty="0">
                <a:latin typeface="Arial" panose="020B0604020202020204" pitchFamily="34" charset="0"/>
                <a:cs typeface="Arial" panose="020B0604020202020204" pitchFamily="34" charset="0"/>
              </a:rPr>
              <a:t>Grundsätze für die Erstellung einer digitalen UI</a:t>
            </a:r>
          </a:p>
          <a:p>
            <a:endParaRPr lang="de-CH" sz="2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CH" sz="2400" b="1" dirty="0">
                <a:latin typeface="Arial" panose="020B0604020202020204" pitchFamily="34" charset="0"/>
                <a:cs typeface="Arial" panose="020B0604020202020204" pitchFamily="34" charset="0"/>
              </a:rPr>
              <a:t>Eric Meier</a:t>
            </a:r>
          </a:p>
          <a:p>
            <a:r>
              <a:rPr lang="de-CH" sz="1600" b="1" dirty="0">
                <a:latin typeface="Arial" panose="020B0604020202020204" pitchFamily="34" charset="0"/>
                <a:cs typeface="Arial" panose="020B0604020202020204" pitchFamily="34" charset="0"/>
              </a:rPr>
              <a:t>Junior Sous Chef, </a:t>
            </a:r>
            <a:r>
              <a:rPr lang="de-CH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Guarda</a:t>
            </a:r>
            <a:r>
              <a:rPr lang="de-CH" sz="1600" b="1" dirty="0">
                <a:latin typeface="Arial" panose="020B0604020202020204" pitchFamily="34" charset="0"/>
                <a:cs typeface="Arial" panose="020B0604020202020204" pitchFamily="34" charset="0"/>
              </a:rPr>
              <a:t> Val</a:t>
            </a:r>
          </a:p>
          <a:p>
            <a:endParaRPr lang="de-CH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2" name="Straight Connector 11"/>
          <p:cNvCxnSpPr/>
          <p:nvPr/>
        </p:nvCxnSpPr>
        <p:spPr>
          <a:xfrm flipH="1">
            <a:off x="706210" y="2975133"/>
            <a:ext cx="907551" cy="0"/>
          </a:xfrm>
          <a:prstGeom prst="line">
            <a:avLst/>
          </a:prstGeom>
          <a:ln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9" name="Picture 2" descr="https://upload.wikimedia.org/wikipedia/en/thumb/b/b5/University_of_St._Gallen_logo_english.svg/800px-University_of_St._Gallen_logo_english.svg.pn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1587" y="541589"/>
            <a:ext cx="2305937" cy="490012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17D65259-F36B-B846-B203-6B677EF5860D}"/>
              </a:ext>
            </a:extLst>
          </p:cNvPr>
          <p:cNvGrpSpPr/>
          <p:nvPr/>
        </p:nvGrpSpPr>
        <p:grpSpPr>
          <a:xfrm>
            <a:off x="3683489" y="0"/>
            <a:ext cx="5460511" cy="5143500"/>
            <a:chOff x="3683489" y="0"/>
            <a:chExt cx="5460511" cy="5143500"/>
          </a:xfrm>
        </p:grpSpPr>
        <p:pic>
          <p:nvPicPr>
            <p:cNvPr id="3" name="Grafik 2">
              <a:extLst>
                <a:ext uri="{FF2B5EF4-FFF2-40B4-BE49-F238E27FC236}">
                  <a16:creationId xmlns:a16="http://schemas.microsoft.com/office/drawing/2014/main" id="{3A851924-462B-474D-A182-F8EBC415A5DB}"/>
                </a:ext>
              </a:extLst>
            </p:cNvPr>
            <p:cNvPicPr preferRelativeResize="0">
              <a:picLocks/>
            </p:cNvPicPr>
            <p:nvPr/>
          </p:nvPicPr>
          <p:blipFill rotWithShape="1">
            <a:blip r:embed="rId4"/>
            <a:srcRect l="32253"/>
            <a:stretch/>
          </p:blipFill>
          <p:spPr>
            <a:xfrm>
              <a:off x="3683489" y="0"/>
              <a:ext cx="5460510" cy="5143500"/>
            </a:xfrm>
            <a:prstGeom prst="parallelogram">
              <a:avLst>
                <a:gd name="adj" fmla="val 48178"/>
              </a:avLst>
            </a:prstGeom>
          </p:spPr>
        </p:pic>
        <p:pic>
          <p:nvPicPr>
            <p:cNvPr id="5" name="Grafik 4">
              <a:extLst>
                <a:ext uri="{FF2B5EF4-FFF2-40B4-BE49-F238E27FC236}">
                  <a16:creationId xmlns:a16="http://schemas.microsoft.com/office/drawing/2014/main" id="{5D0D2A9F-C9AF-5E4F-B2B3-DA62205A95E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67857"/>
            <a:stretch/>
          </p:blipFill>
          <p:spPr>
            <a:xfrm>
              <a:off x="6553200" y="0"/>
              <a:ext cx="2590800" cy="51435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52519293"/>
      </p:ext>
    </p:extLst>
  </p:cSld>
  <p:clrMapOvr>
    <a:masterClrMapping/>
  </p:clrMapOvr>
  <p:transition spd="slow">
    <p:push dir="u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feld 9">
            <a:extLst>
              <a:ext uri="{FF2B5EF4-FFF2-40B4-BE49-F238E27FC236}">
                <a16:creationId xmlns:a16="http://schemas.microsoft.com/office/drawing/2014/main" id="{996C0274-6751-BB40-A65C-308D23A1371C}"/>
              </a:ext>
            </a:extLst>
          </p:cNvPr>
          <p:cNvSpPr txBox="1"/>
          <p:nvPr/>
        </p:nvSpPr>
        <p:spPr>
          <a:xfrm>
            <a:off x="972000" y="2248584"/>
            <a:ext cx="7200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CH" sz="3600" b="1">
                <a:solidFill>
                  <a:schemeClr val="tx2"/>
                </a:solidFill>
              </a:rPr>
              <a:t>HERZLICHEN DANK</a:t>
            </a:r>
            <a:endParaRPr lang="en-US" sz="3600" b="1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866425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>
            <a:extLst>
              <a:ext uri="{FF2B5EF4-FFF2-40B4-BE49-F238E27FC236}">
                <a16:creationId xmlns:a16="http://schemas.microsoft.com/office/drawing/2014/main" id="{AE3EC20C-599D-9344-B7EF-7DAEF7CB2C81}"/>
              </a:ext>
            </a:extLst>
          </p:cNvPr>
          <p:cNvSpPr/>
          <p:nvPr/>
        </p:nvSpPr>
        <p:spPr>
          <a:xfrm>
            <a:off x="287338" y="3432972"/>
            <a:ext cx="2772494" cy="15870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E2358003-7FDF-3145-ABEA-D261144DFFF9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87338" y="842964"/>
            <a:ext cx="2628469" cy="2590008"/>
          </a:xfrm>
        </p:spPr>
        <p:txBody>
          <a:bodyPr/>
          <a:lstStyle/>
          <a:p>
            <a:pPr marL="0" indent="0">
              <a:spcBef>
                <a:spcPts val="0"/>
              </a:spcBef>
              <a:spcAft>
                <a:spcPts val="1200"/>
              </a:spcAft>
              <a:buNone/>
            </a:pPr>
            <a:r>
              <a:rPr lang="de-DE" sz="1600" b="1" dirty="0"/>
              <a:t>Der Interview-Prozess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de-DE" sz="1400" dirty="0" err="1"/>
              <a:t>Begrüssung</a:t>
            </a:r>
            <a:r>
              <a:rPr lang="de-DE" sz="1400" dirty="0"/>
              <a:t> und Vorstellungsrunde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de-DE" sz="1400" dirty="0"/>
              <a:t>Dauer des Interviews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de-DE" sz="1400" dirty="0"/>
              <a:t>Aufnahme des Interviews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de-DE" sz="1400" dirty="0"/>
              <a:t>Geplanter Ablauf für das Interview</a:t>
            </a:r>
            <a:endParaRPr lang="de-DE" dirty="0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9A100C3D-9798-2A4B-9D0B-EEACD495CB72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b="1">
                <a:solidFill>
                  <a:schemeClr val="tx2"/>
                </a:solidFill>
              </a:rPr>
              <a:t>AGENDA</a:t>
            </a:r>
            <a:endParaRPr lang="en-US" sz="1400" b="1">
              <a:solidFill>
                <a:schemeClr val="tx2"/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14EB8191-B6C0-3E43-8681-DBE27A490063}"/>
              </a:ext>
            </a:extLst>
          </p:cNvPr>
          <p:cNvSpPr/>
          <p:nvPr/>
        </p:nvSpPr>
        <p:spPr>
          <a:xfrm>
            <a:off x="3419878" y="842963"/>
            <a:ext cx="5436782" cy="29238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600" b="1" dirty="0"/>
              <a:t>Das Interview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Vorstellung Ausgangslage 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Background des </a:t>
            </a:r>
            <a:r>
              <a:rPr lang="de-DE" sz="1400" dirty="0" err="1"/>
              <a:t>Gesprächpartners</a:t>
            </a:r>
            <a:endParaRPr lang="de-DE" sz="1400" dirty="0"/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Aktuelle Bedarfskalkulation im Betrieb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Verbesserungspotenziale aktuelle Bedarfsplanung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Visualisierung der Bedarfsplanung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Weitere Aspekte eines Bedarfsplanungstools</a:t>
            </a:r>
          </a:p>
          <a:p>
            <a:pPr marL="171450" indent="-17145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Abschluss des Interview</a:t>
            </a:r>
          </a:p>
        </p:txBody>
      </p:sp>
      <p:cxnSp>
        <p:nvCxnSpPr>
          <p:cNvPr id="6" name="Gerade Verbindung 5">
            <a:extLst>
              <a:ext uri="{FF2B5EF4-FFF2-40B4-BE49-F238E27FC236}">
                <a16:creationId xmlns:a16="http://schemas.microsoft.com/office/drawing/2014/main" id="{14F763E2-8A2C-D346-BA8B-FCC2E7CC7250}"/>
              </a:ext>
            </a:extLst>
          </p:cNvPr>
          <p:cNvCxnSpPr>
            <a:cxnSpLocks/>
          </p:cNvCxnSpPr>
          <p:nvPr/>
        </p:nvCxnSpPr>
        <p:spPr>
          <a:xfrm>
            <a:off x="3059832" y="915566"/>
            <a:ext cx="0" cy="410445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hteck 6">
            <a:extLst>
              <a:ext uri="{FF2B5EF4-FFF2-40B4-BE49-F238E27FC236}">
                <a16:creationId xmlns:a16="http://schemas.microsoft.com/office/drawing/2014/main" id="{94D9A37F-BC91-E94A-8510-252BEC914FF4}"/>
              </a:ext>
            </a:extLst>
          </p:cNvPr>
          <p:cNvSpPr/>
          <p:nvPr/>
        </p:nvSpPr>
        <p:spPr>
          <a:xfrm>
            <a:off x="1106633" y="4439263"/>
            <a:ext cx="1314099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02325"/>
            <a:r>
              <a:rPr lang="de-CH" sz="1500" b="1" dirty="0">
                <a:solidFill>
                  <a:prstClr val="black"/>
                </a:solidFill>
                <a:latin typeface="Calibri"/>
              </a:rPr>
              <a:t>15-20 min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DA99EE45-02B7-034F-91E4-4A44B661A92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799" t="19585" r="17801" b="17800"/>
          <a:stretch/>
        </p:blipFill>
        <p:spPr>
          <a:xfrm>
            <a:off x="513927" y="4395623"/>
            <a:ext cx="411513" cy="400110"/>
          </a:xfrm>
          <a:prstGeom prst="rect">
            <a:avLst/>
          </a:prstGeom>
        </p:spPr>
      </p:pic>
      <p:sp>
        <p:nvSpPr>
          <p:cNvPr id="10" name="Rechteck 9">
            <a:extLst>
              <a:ext uri="{FF2B5EF4-FFF2-40B4-BE49-F238E27FC236}">
                <a16:creationId xmlns:a16="http://schemas.microsoft.com/office/drawing/2014/main" id="{4E224690-A491-B944-A4CC-4EDBD452E3EA}"/>
              </a:ext>
            </a:extLst>
          </p:cNvPr>
          <p:cNvSpPr/>
          <p:nvPr/>
        </p:nvSpPr>
        <p:spPr>
          <a:xfrm>
            <a:off x="527305" y="3736062"/>
            <a:ext cx="398135" cy="400110"/>
          </a:xfrm>
          <a:prstGeom prst="rect">
            <a:avLst/>
          </a:prstGeom>
          <a:solidFill>
            <a:schemeClr val="bg1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E9A07EA-A456-AA44-8A14-1D635E7251B4}"/>
              </a:ext>
            </a:extLst>
          </p:cNvPr>
          <p:cNvSpPr/>
          <p:nvPr/>
        </p:nvSpPr>
        <p:spPr>
          <a:xfrm>
            <a:off x="1077890" y="3659118"/>
            <a:ext cx="1621902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02325"/>
            <a:r>
              <a:rPr lang="de-CH" sz="1500" b="1">
                <a:solidFill>
                  <a:prstClr val="black"/>
                </a:solidFill>
                <a:latin typeface="Calibri"/>
              </a:rPr>
              <a:t>Aufnahme des Interviews</a:t>
            </a:r>
          </a:p>
        </p:txBody>
      </p:sp>
      <p:sp>
        <p:nvSpPr>
          <p:cNvPr id="14" name="Pfeil nach rechts 13">
            <a:extLst>
              <a:ext uri="{FF2B5EF4-FFF2-40B4-BE49-F238E27FC236}">
                <a16:creationId xmlns:a16="http://schemas.microsoft.com/office/drawing/2014/main" id="{A8F5DEB4-9382-4B46-A7AE-1E635A078416}"/>
              </a:ext>
            </a:extLst>
          </p:cNvPr>
          <p:cNvSpPr/>
          <p:nvPr/>
        </p:nvSpPr>
        <p:spPr>
          <a:xfrm>
            <a:off x="2861812" y="2575598"/>
            <a:ext cx="396039" cy="307777"/>
          </a:xfrm>
          <a:prstGeom prst="rightArrow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812744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feld 9">
            <a:extLst>
              <a:ext uri="{FF2B5EF4-FFF2-40B4-BE49-F238E27FC236}">
                <a16:creationId xmlns:a16="http://schemas.microsoft.com/office/drawing/2014/main" id="{40652CE2-82DB-5843-B52F-7FD39F071B6A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MEINE PERSON / AUSGANGSLAGE</a:t>
            </a:r>
            <a:endParaRPr lang="en-US" sz="1400" b="1" dirty="0">
              <a:solidFill>
                <a:schemeClr val="tx2"/>
              </a:solidFill>
            </a:endParaRPr>
          </a:p>
        </p:txBody>
      </p:sp>
      <p:pic>
        <p:nvPicPr>
          <p:cNvPr id="6" name="Grafik 5" descr="Ein Bild, das Person, Anzug, Mann, Schlips enthält.&#10;&#10;Automatisch generierte Beschreibung">
            <a:extLst>
              <a:ext uri="{FF2B5EF4-FFF2-40B4-BE49-F238E27FC236}">
                <a16:creationId xmlns:a16="http://schemas.microsoft.com/office/drawing/2014/main" id="{5D7CE821-3F3A-5944-8E9C-A894F359BE4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026" y="1567619"/>
            <a:ext cx="2571750" cy="2571750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17FEB61F-04C0-B947-AA23-0CFD8AE70489}"/>
              </a:ext>
            </a:extLst>
          </p:cNvPr>
          <p:cNvSpPr/>
          <p:nvPr/>
        </p:nvSpPr>
        <p:spPr>
          <a:xfrm>
            <a:off x="3438524" y="906600"/>
            <a:ext cx="5418137" cy="389378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defTabSz="402325"/>
            <a:r>
              <a:rPr lang="de-DE" sz="1400" b="1" dirty="0">
                <a:solidFill>
                  <a:schemeClr val="tx1"/>
                </a:solidFill>
                <a:latin typeface="Calibri"/>
                <a:cs typeface="Calibri"/>
              </a:rPr>
              <a:t>Vorstellung Masterarbeitsthema</a:t>
            </a:r>
          </a:p>
          <a:p>
            <a:pPr defTabSz="402325"/>
            <a:endParaRPr lang="de-DE" sz="1400" b="1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Programmierung von Vorhersagemodellen, die den Bedarf an Gerichten und Lebensmitteln berechnen.</a:t>
            </a: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Überführung dieser Daten in verständliche „Sprache“.</a:t>
            </a: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Entwicklung einer Visualisierung oder Benutzeroberfläche, um diese Ergebnisse in nutzbarer Weise darstellen zu können.</a:t>
            </a: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Ableitung von Design Prinzipien, die dieser Umwandlung zugrunde liegen und dem Endnutzer helfen die Daten zu verstehen.</a:t>
            </a: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  <a:cs typeface="Calibri"/>
            </a:endParaRPr>
          </a:p>
        </p:txBody>
      </p:sp>
      <p:cxnSp>
        <p:nvCxnSpPr>
          <p:cNvPr id="12" name="Gerade Verbindung 11">
            <a:extLst>
              <a:ext uri="{FF2B5EF4-FFF2-40B4-BE49-F238E27FC236}">
                <a16:creationId xmlns:a16="http://schemas.microsoft.com/office/drawing/2014/main" id="{5933BC03-6063-C940-B9C7-2010CBEE19DC}"/>
              </a:ext>
            </a:extLst>
          </p:cNvPr>
          <p:cNvCxnSpPr>
            <a:cxnSpLocks/>
          </p:cNvCxnSpPr>
          <p:nvPr/>
        </p:nvCxnSpPr>
        <p:spPr>
          <a:xfrm>
            <a:off x="3136031" y="801266"/>
            <a:ext cx="0" cy="410445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Pfeil nach rechts 12">
            <a:extLst>
              <a:ext uri="{FF2B5EF4-FFF2-40B4-BE49-F238E27FC236}">
                <a16:creationId xmlns:a16="http://schemas.microsoft.com/office/drawing/2014/main" id="{FFC53C40-DA26-C143-9B04-6FCF389F3A4B}"/>
              </a:ext>
            </a:extLst>
          </p:cNvPr>
          <p:cNvSpPr/>
          <p:nvPr/>
        </p:nvSpPr>
        <p:spPr>
          <a:xfrm>
            <a:off x="2938012" y="2699606"/>
            <a:ext cx="396039" cy="307777"/>
          </a:xfrm>
          <a:prstGeom prst="rightArrow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F9AA6DEB-A68F-1F4C-AB3A-B53913AA6950}"/>
              </a:ext>
            </a:extLst>
          </p:cNvPr>
          <p:cNvSpPr/>
          <p:nvPr/>
        </p:nvSpPr>
        <p:spPr>
          <a:xfrm>
            <a:off x="3680617" y="4016829"/>
            <a:ext cx="4933950" cy="67899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algn="ctr" defTabSz="402325">
              <a:lnSpc>
                <a:spcPct val="150000"/>
              </a:lnSpc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Ziel für dieses Interview: </a:t>
            </a:r>
            <a:r>
              <a:rPr lang="de-DE" sz="1400" b="1" dirty="0">
                <a:solidFill>
                  <a:schemeClr val="tx1"/>
                </a:solidFill>
                <a:latin typeface="Calibri"/>
                <a:cs typeface="Calibri"/>
              </a:rPr>
              <a:t>Anforderungen</a:t>
            </a: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 und </a:t>
            </a:r>
            <a:r>
              <a:rPr lang="de-DE" sz="1400" b="1" dirty="0">
                <a:solidFill>
                  <a:schemeClr val="tx1"/>
                </a:solidFill>
                <a:latin typeface="Calibri"/>
                <a:cs typeface="Calibri"/>
              </a:rPr>
              <a:t>Bedürfnisse</a:t>
            </a: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 der </a:t>
            </a:r>
            <a:r>
              <a:rPr lang="de-DE" sz="1400" b="1" dirty="0">
                <a:solidFill>
                  <a:schemeClr val="tx1"/>
                </a:solidFill>
                <a:latin typeface="Calibri"/>
                <a:cs typeface="Calibri"/>
              </a:rPr>
              <a:t>Endnutzer</a:t>
            </a: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 in der täglichen Verwendung</a:t>
            </a:r>
          </a:p>
        </p:txBody>
      </p:sp>
    </p:spTree>
    <p:extLst>
      <p:ext uri="{BB962C8B-B14F-4D97-AF65-F5344CB8AC3E}">
        <p14:creationId xmlns:p14="http://schemas.microsoft.com/office/powerpoint/2010/main" val="28193381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CB84490F-30B3-DB4B-BB17-3F184BF633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7131376"/>
              </p:ext>
            </p:extLst>
          </p:nvPr>
        </p:nvGraphicFramePr>
        <p:xfrm>
          <a:off x="1786629" y="482895"/>
          <a:ext cx="691" cy="6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07"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CB84490F-30B3-DB4B-BB17-3F184BF633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86629" y="482895"/>
                        <a:ext cx="691" cy="6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109419F6-42AA-6940-BE43-C8748BF59A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785938" y="482204"/>
            <a:ext cx="69099" cy="690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02325"/>
            <a:endParaRPr lang="fr-FR" sz="788" b="1" err="1">
              <a:solidFill>
                <a:prstClr val="white"/>
              </a:solidFill>
              <a:latin typeface="Helvetica" pitchFamily="2" charset="0"/>
              <a:ea typeface="Verdana" panose="020B0604030504040204" pitchFamily="34" charset="0"/>
              <a:cs typeface="Helvetica"/>
              <a:sym typeface="Helvetica" pitchFamily="2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0963A74-C3F3-C04B-AAAE-7F7D50DFD098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BACKGROUND DES GESPRÄCHPARTNERS</a:t>
            </a:r>
            <a:endParaRPr lang="en-US" sz="1400" b="1" dirty="0">
              <a:solidFill>
                <a:schemeClr val="tx2"/>
              </a:solidFill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F60F01B0-1AEC-1A49-BD13-4A6F58D23918}"/>
              </a:ext>
            </a:extLst>
          </p:cNvPr>
          <p:cNvSpPr/>
          <p:nvPr/>
        </p:nvSpPr>
        <p:spPr>
          <a:xfrm>
            <a:off x="279368" y="1151335"/>
            <a:ext cx="8595203" cy="358065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Wie lange arbeiten Sie schon in der Gastronomie / in Ihrem Betrieb?</a:t>
            </a:r>
          </a:p>
          <a:p>
            <a:pPr marL="742950" lvl="1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Mit der Lehre 10 Jahren,  0.5 Jahre in diesem Betrieb als </a:t>
            </a:r>
            <a:r>
              <a:rPr lang="de-DE" sz="1400" dirty="0" err="1">
                <a:solidFill>
                  <a:schemeClr val="tx1"/>
                </a:solidFill>
                <a:latin typeface="Calibri"/>
              </a:rPr>
              <a:t>Jounior</a:t>
            </a:r>
            <a:r>
              <a:rPr lang="de-DE" sz="1400" dirty="0">
                <a:solidFill>
                  <a:schemeClr val="tx1"/>
                </a:solidFill>
                <a:latin typeface="Calibri"/>
              </a:rPr>
              <a:t> Sous Chef , Kaltspeisen und </a:t>
            </a:r>
            <a:r>
              <a:rPr lang="de-DE" sz="1400" dirty="0" err="1">
                <a:solidFill>
                  <a:schemeClr val="tx1"/>
                </a:solidFill>
                <a:latin typeface="Calibri"/>
              </a:rPr>
              <a:t>Süssspeisen</a:t>
            </a: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marL="742950" lvl="1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Gourmetspeisen, </a:t>
            </a:r>
            <a:r>
              <a:rPr lang="de-DE" sz="1400" dirty="0" err="1">
                <a:solidFill>
                  <a:schemeClr val="tx1"/>
                </a:solidFill>
                <a:latin typeface="Calibri"/>
              </a:rPr>
              <a:t>ala</a:t>
            </a:r>
            <a:r>
              <a:rPr lang="de-DE" sz="1400" dirty="0">
                <a:solidFill>
                  <a:schemeClr val="tx1"/>
                </a:solidFill>
                <a:latin typeface="Calibri"/>
              </a:rPr>
              <a:t> Card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Was sind ihre Aufgaben (neben dem eigentlichen Kochen)? </a:t>
            </a:r>
          </a:p>
          <a:p>
            <a:pPr marL="758825" indent="-312738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	Weiterbildungen von Lehrlingen, Ordnung halten, Putzen, 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Gehört der Einkauf / Bedarfsplanung zu Ihrem Tätigkeitsbereich?</a:t>
            </a:r>
          </a:p>
          <a:p>
            <a:pPr marL="804863" indent="-358775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Nur für den eigenen Bereich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6540F07-3EFA-284B-B498-65F468FE9ED2}"/>
              </a:ext>
            </a:extLst>
          </p:cNvPr>
          <p:cNvSpPr/>
          <p:nvPr/>
        </p:nvSpPr>
        <p:spPr>
          <a:xfrm>
            <a:off x="251520" y="699542"/>
            <a:ext cx="8712968" cy="30777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400"/>
              <a:t>Ziel: Verständnis über die Historie, die Erfahrung und die Position der Person in der Organisation erlangen </a:t>
            </a:r>
          </a:p>
        </p:txBody>
      </p:sp>
    </p:spTree>
    <p:extLst>
      <p:ext uri="{BB962C8B-B14F-4D97-AF65-F5344CB8AC3E}">
        <p14:creationId xmlns:p14="http://schemas.microsoft.com/office/powerpoint/2010/main" val="426848244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CB84490F-30B3-DB4B-BB17-3F184BF633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86629" y="482895"/>
          <a:ext cx="691" cy="6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55"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CB84490F-30B3-DB4B-BB17-3F184BF633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86629" y="482895"/>
                        <a:ext cx="691" cy="6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109419F6-42AA-6940-BE43-C8748BF59A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785938" y="482204"/>
            <a:ext cx="69099" cy="690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02325"/>
            <a:endParaRPr lang="fr-FR" sz="788" b="1" err="1">
              <a:solidFill>
                <a:prstClr val="white"/>
              </a:solidFill>
              <a:latin typeface="Helvetica" pitchFamily="2" charset="0"/>
              <a:ea typeface="Verdana" panose="020B0604030504040204" pitchFamily="34" charset="0"/>
              <a:cs typeface="Helvetica"/>
              <a:sym typeface="Helvetica" pitchFamily="2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0963A74-C3F3-C04B-AAAE-7F7D50DFD098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AKTUELLE BEDARFSKALKULATION IM BETRIEB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F60F01B0-1AEC-1A49-BD13-4A6F58D23918}"/>
              </a:ext>
            </a:extLst>
          </p:cNvPr>
          <p:cNvSpPr/>
          <p:nvPr/>
        </p:nvSpPr>
        <p:spPr>
          <a:xfrm>
            <a:off x="279368" y="1151335"/>
            <a:ext cx="8595203" cy="358065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marL="285750" indent="-285750" defTabSz="402325">
              <a:buFont typeface="Arial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Wie funktioniert die aktuelle Bedarfsplanung der Gerichte / Lebensmittel?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Basiert auf dem Aufkommen der Woche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Abhängigkeiten an andere Kochbereiche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Anmeldungen / Reservationen von Gästen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400" dirty="0" err="1">
                <a:solidFill>
                  <a:schemeClr val="tx1"/>
                </a:solidFill>
                <a:latin typeface="Calibri"/>
              </a:rPr>
              <a:t>Saisonalitäten</a:t>
            </a:r>
            <a:r>
              <a:rPr lang="de-DE" sz="1400" dirty="0">
                <a:solidFill>
                  <a:schemeClr val="tx1"/>
                </a:solidFill>
                <a:latin typeface="Calibri"/>
              </a:rPr>
              <a:t> -&gt; Somme mehr Früchte; </a:t>
            </a:r>
            <a:r>
              <a:rPr lang="de-DE" sz="1400" dirty="0" err="1">
                <a:solidFill>
                  <a:schemeClr val="tx1"/>
                </a:solidFill>
                <a:latin typeface="Calibri"/>
              </a:rPr>
              <a:t>Foodtrends</a:t>
            </a: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Wie funktioniert der Prozess der Bedarfsplanung?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Geplant wird zwei bis drei Tage im Voraus, Milch 2 Tage, je nach Lieferzeit und Haltbarkeit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Bestellung variiert zwischen verschiedenen Produkten. Abhängig von der Bestellung an sich, Produkte müssen z.B. für Samstag + Sonntag und Montag reichen,</a:t>
            </a:r>
          </a:p>
          <a:p>
            <a:pPr marL="742950" lvl="1" indent="-285750" defTabSz="402325">
              <a:buFont typeface="Arial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marL="274638" lvl="1" indent="-266700" defTabSz="402325">
              <a:buFont typeface="Arial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Gibt es aktuell eine Übersicht auf der ersichtlich ist, was und in welcher Menge eingekauft werden muss?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Nein, gibt es nicht. Inventarliste wird jeden Monat oder zweiten aktualisiert. TK wird jede Woche Inventur gemacht.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Vor der der Bestellung werden alle Lager überprüft und die Produkte zusammengeschrieben, die benötigt werden.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Analoger Prozess mit vielen Varianzen</a:t>
            </a:r>
          </a:p>
          <a:p>
            <a:pPr defTabSz="402325"/>
            <a:endParaRPr lang="de-DE" sz="1200" dirty="0">
              <a:solidFill>
                <a:schemeClr val="tx1"/>
              </a:solidFill>
              <a:latin typeface="Calibri"/>
            </a:endParaRPr>
          </a:p>
          <a:p>
            <a:pPr defTabSz="402325"/>
            <a:endParaRPr lang="de-DE" sz="12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200" dirty="0">
              <a:solidFill>
                <a:schemeClr val="tx1"/>
              </a:solidFill>
              <a:latin typeface="Calibri"/>
              <a:cs typeface="Calibri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6540F07-3EFA-284B-B498-65F468FE9ED2}"/>
              </a:ext>
            </a:extLst>
          </p:cNvPr>
          <p:cNvSpPr/>
          <p:nvPr/>
        </p:nvSpPr>
        <p:spPr>
          <a:xfrm>
            <a:off x="251520" y="699542"/>
            <a:ext cx="8712968" cy="30777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400" dirty="0"/>
              <a:t>Ziel: Verständnis für die aktuelle Bedarfsplanung und den Einkauf der verschiedenen Gerichte erlangen  </a:t>
            </a:r>
          </a:p>
        </p:txBody>
      </p:sp>
    </p:spTree>
    <p:extLst>
      <p:ext uri="{BB962C8B-B14F-4D97-AF65-F5344CB8AC3E}">
        <p14:creationId xmlns:p14="http://schemas.microsoft.com/office/powerpoint/2010/main" val="251610699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CB84490F-30B3-DB4B-BB17-3F184BF633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86629" y="482895"/>
          <a:ext cx="691" cy="6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4"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CB84490F-30B3-DB4B-BB17-3F184BF633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86629" y="482895"/>
                        <a:ext cx="691" cy="6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109419F6-42AA-6940-BE43-C8748BF59A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785938" y="482204"/>
            <a:ext cx="69099" cy="690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02325"/>
            <a:endParaRPr lang="fr-FR" sz="788" b="1" err="1">
              <a:solidFill>
                <a:prstClr val="white"/>
              </a:solidFill>
              <a:latin typeface="Helvetica" pitchFamily="2" charset="0"/>
              <a:ea typeface="Verdana" panose="020B0604030504040204" pitchFamily="34" charset="0"/>
              <a:cs typeface="Helvetica"/>
              <a:sym typeface="Helvetica" pitchFamily="2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0963A74-C3F3-C04B-AAAE-7F7D50DFD098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VERBESSERUNGSPOTENZIALE AKTUELLE BEDARFSPLANUNG</a:t>
            </a:r>
            <a:endParaRPr lang="de-DE" dirty="0"/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F60F01B0-1AEC-1A49-BD13-4A6F58D23918}"/>
              </a:ext>
            </a:extLst>
          </p:cNvPr>
          <p:cNvSpPr/>
          <p:nvPr/>
        </p:nvSpPr>
        <p:spPr>
          <a:xfrm>
            <a:off x="279368" y="1151335"/>
            <a:ext cx="8595203" cy="358065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marL="285750" indent="-285750" defTabSz="402325">
              <a:buFont typeface="Arial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Was ist aktuell verbesserungswürdig an der Bedarfsplanung?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Analoges Trockenlager -&gt; wenn etwas leer geht wird es nicht aufgefüllt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Wo ist etwas gelagert?</a:t>
            </a:r>
          </a:p>
          <a:p>
            <a:pPr marL="742950" lvl="1" indent="-285750" defTabSz="402325">
              <a:buFont typeface="Arial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Was könnte in Ihrer Bedarfsplanung einfacher gestaltet sein?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400" dirty="0" err="1">
                <a:solidFill>
                  <a:schemeClr val="tx1"/>
                </a:solidFill>
                <a:latin typeface="Calibri"/>
              </a:rPr>
              <a:t>Grosse</a:t>
            </a:r>
            <a:r>
              <a:rPr lang="de-DE" sz="1400" dirty="0">
                <a:solidFill>
                  <a:schemeClr val="tx1"/>
                </a:solidFill>
                <a:latin typeface="Calibri"/>
              </a:rPr>
              <a:t> Spannweite von Material -&gt; zu viel Material bestellt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Einheitliche Bestellregelung, aktuell gibt es zu viele Varianzen im Prozess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Kaum digitalisierter Prozess</a:t>
            </a:r>
          </a:p>
          <a:p>
            <a:pPr marL="742950" lvl="1" indent="-285750" defTabSz="402325">
              <a:buFont typeface="Arial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Gibt es Wünsche, Anregungen, Verbesserungspotenzial?</a:t>
            </a:r>
          </a:p>
          <a:p>
            <a:pPr marL="285750" indent="-285750" defTabSz="402325">
              <a:buFont typeface="Arial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defTabSz="402325"/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defTabSz="402325"/>
            <a:endParaRPr lang="de-DE" sz="1400" dirty="0">
              <a:solidFill>
                <a:schemeClr val="tx1"/>
              </a:solidFill>
              <a:latin typeface="Calibri"/>
              <a:cs typeface="Calibri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6540F07-3EFA-284B-B498-65F468FE9ED2}"/>
              </a:ext>
            </a:extLst>
          </p:cNvPr>
          <p:cNvSpPr/>
          <p:nvPr/>
        </p:nvSpPr>
        <p:spPr>
          <a:xfrm>
            <a:off x="251520" y="699542"/>
            <a:ext cx="8712968" cy="30777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400" dirty="0"/>
              <a:t>Ziel: Den optimalen Prozess einer bedürfnisgerechten Bedarfsplanung eruieren</a:t>
            </a:r>
          </a:p>
        </p:txBody>
      </p:sp>
    </p:spTree>
    <p:extLst>
      <p:ext uri="{BB962C8B-B14F-4D97-AF65-F5344CB8AC3E}">
        <p14:creationId xmlns:p14="http://schemas.microsoft.com/office/powerpoint/2010/main" val="136326880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CB84490F-30B3-DB4B-BB17-3F184BF633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86629" y="482895"/>
          <a:ext cx="691" cy="6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52"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CB84490F-30B3-DB4B-BB17-3F184BF633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86629" y="482895"/>
                        <a:ext cx="691" cy="6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109419F6-42AA-6940-BE43-C8748BF59A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785938" y="482204"/>
            <a:ext cx="69099" cy="690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02325"/>
            <a:endParaRPr lang="fr-FR" sz="788" b="1" err="1">
              <a:solidFill>
                <a:prstClr val="white"/>
              </a:solidFill>
              <a:latin typeface="Helvetica" pitchFamily="2" charset="0"/>
              <a:ea typeface="Verdana" panose="020B0604030504040204" pitchFamily="34" charset="0"/>
              <a:cs typeface="Helvetica"/>
              <a:sym typeface="Helvetica" pitchFamily="2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0963A74-C3F3-C04B-AAAE-7F7D50DFD098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VISUALISIERUNG DER BEDARFSPLANUNG</a:t>
            </a:r>
            <a:endParaRPr lang="de-DE" dirty="0"/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F60F01B0-1AEC-1A49-BD13-4A6F58D23918}"/>
              </a:ext>
            </a:extLst>
          </p:cNvPr>
          <p:cNvSpPr/>
          <p:nvPr/>
        </p:nvSpPr>
        <p:spPr>
          <a:xfrm>
            <a:off x="279368" y="1189435"/>
            <a:ext cx="8595203" cy="358065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marL="285750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  <a:cs typeface="Calibri"/>
              </a:rPr>
              <a:t>Ist es für Sie entscheidender, eine Erklärung über die Funktionsweise des Algorithmus zu erhalten, oder eine die die aktuell ausgesprochene Empfehlung erklärt?</a:t>
            </a:r>
          </a:p>
          <a:p>
            <a:pPr marL="628650" lvl="1" indent="-171450" defTabSz="402325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Erklärung der Empfehlung, das Erste zu kompliziert. </a:t>
            </a:r>
          </a:p>
          <a:p>
            <a:pPr marL="628650" lvl="1" indent="-171450" defTabSz="402325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Kein PC Fachwissen, in Muttersprache, in vereinfachter Sprache, </a:t>
            </a:r>
          </a:p>
          <a:p>
            <a:pPr marL="285750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Welche Informationen müssen auf einer Visualisierung zur Bedarfsplanung integriert sein?</a:t>
            </a:r>
          </a:p>
          <a:p>
            <a:pPr marL="625475" lvl="1" indent="-168275" defTabSz="402325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Lieferantenansicht, Lieferzeit, Verfügbarkeit, Wie lange braucht der Lieferant zum Liefern, Spannweite der Lieferzeit</a:t>
            </a:r>
          </a:p>
          <a:p>
            <a:pPr marL="625475" lvl="1" indent="-168275" defTabSz="402325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Bedarf nach Geschäft aufgelistet, aber Totale Summe akkumuliert, Anzahl, Wie lange hält die Anzahl Produkte, für wie viele Tage, Reserve Produkte, </a:t>
            </a:r>
          </a:p>
          <a:p>
            <a:pPr marL="625475" lvl="1" indent="-168275" defTabSz="402325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Trockenlebensmittel inkl. Getränke, Gemüse, Milchprodukte, Fleisch, Fisch (kann auch mit Fleisch kombiniert werden)</a:t>
            </a:r>
          </a:p>
          <a:p>
            <a:pPr marL="625475" lvl="1" indent="-168275" defTabSz="402325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Für welchen Bereich ist das Lebensmittel vorgesehen? Hat man es gebraucht oder nicht? Kurzfriste Lageranpassungen auch erfasst.</a:t>
            </a:r>
          </a:p>
          <a:p>
            <a:pPr marL="625475" lvl="1" indent="-168275" defTabSz="402325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Interaktion: Haltbarkeit selber eintragen, aber anpassbares Feld damit man selbst eintragen kann</a:t>
            </a:r>
          </a:p>
          <a:p>
            <a:pPr marL="625475" lvl="1" indent="-168275" defTabSz="402325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Erklärung per Pop-Up Fenster</a:t>
            </a:r>
          </a:p>
          <a:p>
            <a:pPr marL="285750" indent="-285750" defTabSz="402325">
              <a:buFont typeface="Arial"/>
              <a:buChar char="•"/>
            </a:pPr>
            <a:endParaRPr lang="de-DE" sz="12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Wie muss die Visualisierung gestaltet sein, damit sie am meisten Wert stiftet? (Beispiele zeigen)</a:t>
            </a:r>
          </a:p>
          <a:p>
            <a:pPr defTabSz="402325"/>
            <a:r>
              <a:rPr lang="de-DE" sz="1200" dirty="0">
                <a:solidFill>
                  <a:schemeClr val="tx1"/>
                </a:solidFill>
                <a:latin typeface="Calibri"/>
              </a:rPr>
              <a:t>	Einfach, übersichtlich, nicht überfordernd, nicht zu viel Detail, Bestellübersicht quantitativ mit Zahlen, Reports gerne visuell</a:t>
            </a:r>
          </a:p>
          <a:p>
            <a:pPr marL="285750" indent="-285750" defTabSz="402325">
              <a:buFont typeface="Arial"/>
              <a:buChar char="•"/>
            </a:pPr>
            <a:endParaRPr lang="de-DE" sz="12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/>
              <a:buChar char="•"/>
            </a:pPr>
            <a:endParaRPr lang="de-DE" sz="12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/>
              <a:buChar char="•"/>
            </a:pPr>
            <a:endParaRPr lang="de-DE" sz="12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/>
              <a:buChar char="•"/>
            </a:pPr>
            <a:endParaRPr lang="de-DE" sz="1200" dirty="0">
              <a:solidFill>
                <a:schemeClr val="tx1"/>
              </a:solidFill>
              <a:latin typeface="Calibri"/>
            </a:endParaRPr>
          </a:p>
          <a:p>
            <a:pPr defTabSz="402325"/>
            <a:endParaRPr lang="de-DE" sz="1200" dirty="0">
              <a:solidFill>
                <a:schemeClr val="tx1"/>
              </a:solidFill>
              <a:latin typeface="Calibri"/>
              <a:cs typeface="Calibri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6540F07-3EFA-284B-B498-65F468FE9ED2}"/>
              </a:ext>
            </a:extLst>
          </p:cNvPr>
          <p:cNvSpPr/>
          <p:nvPr/>
        </p:nvSpPr>
        <p:spPr>
          <a:xfrm>
            <a:off x="251520" y="699542"/>
            <a:ext cx="8712968" cy="523220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400" dirty="0"/>
              <a:t>Ziel: Verständnis für die Nutzung eines nutzerfreundlichen und einfach verständlichen Visualisierung erlangen</a:t>
            </a:r>
          </a:p>
        </p:txBody>
      </p:sp>
    </p:spTree>
    <p:extLst>
      <p:ext uri="{BB962C8B-B14F-4D97-AF65-F5344CB8AC3E}">
        <p14:creationId xmlns:p14="http://schemas.microsoft.com/office/powerpoint/2010/main" val="86689812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CB84490F-30B3-DB4B-BB17-3F184BF633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86629" y="482895"/>
          <a:ext cx="691" cy="6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47"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CB84490F-30B3-DB4B-BB17-3F184BF633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86629" y="482895"/>
                        <a:ext cx="691" cy="6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109419F6-42AA-6940-BE43-C8748BF59A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785938" y="482204"/>
            <a:ext cx="69099" cy="690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02325"/>
            <a:endParaRPr lang="fr-FR" sz="788" b="1" err="1">
              <a:solidFill>
                <a:prstClr val="white"/>
              </a:solidFill>
              <a:latin typeface="Helvetica" pitchFamily="2" charset="0"/>
              <a:ea typeface="Verdana" panose="020B0604030504040204" pitchFamily="34" charset="0"/>
              <a:cs typeface="Helvetica"/>
              <a:sym typeface="Helvetica" pitchFamily="2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0963A74-C3F3-C04B-AAAE-7F7D50DFD098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WEITERE ASPEKTE EINES BEDARFSPLANUNGSTOOLS</a:t>
            </a:r>
            <a:endParaRPr lang="de-DE" sz="1400" dirty="0"/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F60F01B0-1AEC-1A49-BD13-4A6F58D23918}"/>
              </a:ext>
            </a:extLst>
          </p:cNvPr>
          <p:cNvSpPr/>
          <p:nvPr/>
        </p:nvSpPr>
        <p:spPr>
          <a:xfrm>
            <a:off x="279368" y="1007319"/>
            <a:ext cx="8595203" cy="388843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0" rIns="108000" rtlCol="0" anchor="t"/>
          <a:lstStyle/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Wie wichtig ist Ihnen, dass Sie die Vorschläge des Tools nachvollziehen können?</a:t>
            </a:r>
            <a:endParaRPr lang="de-DE" sz="1200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628650" lvl="1" indent="-171450" defTabSz="402325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  <a:cs typeface="Calibri"/>
              </a:rPr>
              <a:t>Es muss verständlich sein warum, welche Vorschläge ausgegeben werden, für was werden diese Produkte gebraucht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  <a:cs typeface="Calibri"/>
              </a:rPr>
              <a:t>Welche Elemente müsste ein solches Tool aufweisen, damit Sie den Empfehlung dessen vertrauen können?</a:t>
            </a:r>
          </a:p>
          <a:p>
            <a:pPr marL="628650" lvl="1" indent="-171450" defTabSz="402325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  <a:cs typeface="Calibri"/>
              </a:rPr>
              <a:t>Auf was ist das Lebensmittel bezogen, für was wird das Produkt gebraucht, Vergleiche mit Anzahl Kunden / Reservationen / Vorjahr / Vorwoche</a:t>
            </a:r>
          </a:p>
          <a:p>
            <a:pPr marL="628650" lvl="1" indent="-171450" defTabSz="402325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  <a:cs typeface="Calibri"/>
              </a:rPr>
              <a:t>Aber es darf keine Überforderung mit Informationen stattfinden, keine zeitraubenden Funktionen, einfache Handhabung, nicht zu viel Infos</a:t>
            </a:r>
          </a:p>
          <a:p>
            <a:pPr marL="285750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Wäre eine interaktive „</a:t>
            </a:r>
            <a:r>
              <a:rPr lang="de-DE" sz="1200" dirty="0" err="1">
                <a:solidFill>
                  <a:schemeClr val="tx1"/>
                </a:solidFill>
                <a:latin typeface="Calibri"/>
              </a:rPr>
              <a:t>What</a:t>
            </a:r>
            <a:r>
              <a:rPr lang="de-DE" sz="1200" dirty="0">
                <a:solidFill>
                  <a:schemeClr val="tx1"/>
                </a:solidFill>
                <a:latin typeface="Calibri"/>
              </a:rPr>
              <a:t> </a:t>
            </a:r>
            <a:r>
              <a:rPr lang="de-DE" sz="1200" dirty="0" err="1">
                <a:solidFill>
                  <a:schemeClr val="tx1"/>
                </a:solidFill>
                <a:latin typeface="Calibri"/>
              </a:rPr>
              <a:t>If</a:t>
            </a:r>
            <a:r>
              <a:rPr lang="de-DE" sz="1200" dirty="0">
                <a:solidFill>
                  <a:schemeClr val="tx1"/>
                </a:solidFill>
                <a:latin typeface="Calibri"/>
              </a:rPr>
              <a:t>…“ Funktion hilfreich, die unterschiedliche Szenarios simulieren kann?</a:t>
            </a:r>
          </a:p>
          <a:p>
            <a:pPr marL="625475" indent="-179388" defTabSz="402325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Ja, falls man Substitute für Lebensmittel einplanen muss, oder einen Wechsel im Menüplan, oder andere möglichen Szenarios durchspielen will</a:t>
            </a:r>
          </a:p>
          <a:p>
            <a:pPr marL="285750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Inwiefern müssten verschiedene Zeithorizonte betrachtet werden, da sich Lebensmittel unterschiedlich lange halten oder aufgrund von </a:t>
            </a:r>
            <a:r>
              <a:rPr lang="de-DE" sz="1200" dirty="0" err="1">
                <a:solidFill>
                  <a:schemeClr val="tx1"/>
                </a:solidFill>
                <a:latin typeface="Calibri"/>
              </a:rPr>
              <a:t>Saisonalitäten</a:t>
            </a:r>
            <a:r>
              <a:rPr lang="de-DE" sz="1200" dirty="0">
                <a:solidFill>
                  <a:schemeClr val="tx1"/>
                </a:solidFill>
                <a:latin typeface="Calibri"/>
              </a:rPr>
              <a:t>, Nachfrageschwankungen etc.?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Ja, spielt eine wichtige Rolle, verschiedene Haltbarkeit der Produkte, verschiedene Lieferfristen, etc.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  <a:cs typeface="Calibri"/>
              </a:rPr>
              <a:t>Wäre es hilfreich, wenn Empfehlungen im Sinne eines „</a:t>
            </a:r>
            <a:r>
              <a:rPr lang="de-DE" sz="1200" dirty="0" err="1">
                <a:solidFill>
                  <a:schemeClr val="tx1"/>
                </a:solidFill>
                <a:latin typeface="Calibri"/>
                <a:cs typeface="Calibri"/>
              </a:rPr>
              <a:t>Recommender</a:t>
            </a:r>
            <a:r>
              <a:rPr lang="de-DE" sz="1200" dirty="0">
                <a:solidFill>
                  <a:schemeClr val="tx1"/>
                </a:solidFill>
                <a:latin typeface="Calibri"/>
                <a:cs typeface="Calibri"/>
              </a:rPr>
              <a:t> Systems“, welche Vorschläge zu anderen Gerichten gibt, integriert sind?</a:t>
            </a:r>
          </a:p>
          <a:p>
            <a:pPr marL="742950" lvl="1" indent="-285750" defTabSz="402325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  <a:cs typeface="Calibri"/>
              </a:rPr>
              <a:t>Ja, wäre interessant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  <a:cs typeface="Calibri"/>
              </a:rPr>
              <a:t>Welche weiteren Funktionen müsste ein Tool zur Bedarfsplanung von Gerichten aufweisen?</a:t>
            </a:r>
          </a:p>
          <a:p>
            <a:pPr marL="573088" lvl="1" indent="-171450" defTabSz="402325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  <a:cs typeface="Calibri"/>
              </a:rPr>
              <a:t>Klare Übersicht, verschiedenen ziehbaren Fenster, nicht zu viel Informationen oder Details, Nachfrage, Gewinne, Umsatz und generelles Reporting mit anschauliche Diagrammen, Erklärungen möglichst knapp aber qualitativ hochwertig, durch Pop-up Fenster oder </a:t>
            </a:r>
            <a:r>
              <a:rPr lang="de-DE" sz="1200" dirty="0" err="1">
                <a:solidFill>
                  <a:schemeClr val="tx1"/>
                </a:solidFill>
                <a:latin typeface="Calibri"/>
                <a:cs typeface="Calibri"/>
              </a:rPr>
              <a:t>Overlays</a:t>
            </a:r>
            <a:endParaRPr lang="de-DE" sz="1200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573088" lvl="1" indent="-171450" defTabSz="402325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  <a:cs typeface="Calibri"/>
              </a:rPr>
              <a:t>Monatliche Reports zu Verbrauch, Einkauf, Umsatz, Gewinn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200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200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200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200" dirty="0">
              <a:solidFill>
                <a:schemeClr val="tx1"/>
              </a:solidFill>
              <a:latin typeface="Calibri"/>
              <a:cs typeface="Calibri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6540F07-3EFA-284B-B498-65F468FE9ED2}"/>
              </a:ext>
            </a:extLst>
          </p:cNvPr>
          <p:cNvSpPr/>
          <p:nvPr/>
        </p:nvSpPr>
        <p:spPr>
          <a:xfrm>
            <a:off x="251520" y="699542"/>
            <a:ext cx="8712968" cy="30777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400"/>
              <a:t>Ziel: Probleme und Limitationen der Datennutzung verstehen.</a:t>
            </a:r>
          </a:p>
        </p:txBody>
      </p:sp>
    </p:spTree>
    <p:extLst>
      <p:ext uri="{BB962C8B-B14F-4D97-AF65-F5344CB8AC3E}">
        <p14:creationId xmlns:p14="http://schemas.microsoft.com/office/powerpoint/2010/main" val="234658709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CB84490F-30B3-DB4B-BB17-3F184BF633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86629" y="482895"/>
          <a:ext cx="691" cy="6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9"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CB84490F-30B3-DB4B-BB17-3F184BF633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86629" y="482895"/>
                        <a:ext cx="691" cy="6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109419F6-42AA-6940-BE43-C8748BF59A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785938" y="482204"/>
            <a:ext cx="69099" cy="690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02325"/>
            <a:endParaRPr lang="fr-FR" sz="788" b="1" err="1">
              <a:solidFill>
                <a:prstClr val="white"/>
              </a:solidFill>
              <a:latin typeface="Helvetica" pitchFamily="2" charset="0"/>
              <a:ea typeface="Verdana" panose="020B0604030504040204" pitchFamily="34" charset="0"/>
              <a:cs typeface="Helvetica"/>
              <a:sym typeface="Helvetica" pitchFamily="2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0963A74-C3F3-C04B-AAAE-7F7D50DFD098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ABSCHLIESSENDE FRAGEN</a:t>
            </a:r>
            <a:endParaRPr lang="de-DE" sz="1400" dirty="0"/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F60F01B0-1AEC-1A49-BD13-4A6F58D23918}"/>
              </a:ext>
            </a:extLst>
          </p:cNvPr>
          <p:cNvSpPr/>
          <p:nvPr/>
        </p:nvSpPr>
        <p:spPr>
          <a:xfrm>
            <a:off x="279368" y="1151335"/>
            <a:ext cx="8595203" cy="358065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Gibt es bei Ihnen im Unternehmen irgendwelche Tools oder Applikationen die mit Maschine Learning oder KI arbeiten?</a:t>
            </a:r>
          </a:p>
          <a:p>
            <a:pPr marL="742950" lvl="1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	Nein, gibt keine AI oder ML Anwendungen, organisationale </a:t>
            </a:r>
            <a:r>
              <a:rPr lang="de-DE" sz="1400" dirty="0" err="1">
                <a:solidFill>
                  <a:schemeClr val="tx1"/>
                </a:solidFill>
                <a:latin typeface="Calibri"/>
                <a:cs typeface="Calibri"/>
              </a:rPr>
              <a:t>Readiness</a:t>
            </a: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 eher tief, persönlicher 	Erfahrungsschatz der Mitarbeiter und Toolbox im Umgang mit AI Applikationen auch sehr gering.</a:t>
            </a:r>
          </a:p>
          <a:p>
            <a:pPr marL="742950" lvl="1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	Applikationen für den administrativen Gebrauch sind vorhanden (z.B. Temperatur im Kühlhaus 	überprüfen)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6540F07-3EFA-284B-B498-65F468FE9ED2}"/>
              </a:ext>
            </a:extLst>
          </p:cNvPr>
          <p:cNvSpPr/>
          <p:nvPr/>
        </p:nvSpPr>
        <p:spPr>
          <a:xfrm>
            <a:off x="251520" y="699542"/>
            <a:ext cx="8712968" cy="30777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400" dirty="0"/>
              <a:t>Ziel: Sonstige Fragen zum Thema klären.</a:t>
            </a:r>
          </a:p>
        </p:txBody>
      </p:sp>
    </p:spTree>
    <p:extLst>
      <p:ext uri="{BB962C8B-B14F-4D97-AF65-F5344CB8AC3E}">
        <p14:creationId xmlns:p14="http://schemas.microsoft.com/office/powerpoint/2010/main" val="315678858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raMppnZpndDFATQdQ4H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raMppnZpndDFATQdQ4H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raMppnZpndDFATQdQ4H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raMppnZpndDFATQdQ4H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raMppnZpndDFATQdQ4H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raMppnZpndDFATQdQ4H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WI3 Layout">
  <a:themeElements>
    <a:clrScheme name="Benutzerdefiniert 1">
      <a:dk1>
        <a:sysClr val="windowText" lastClr="000000"/>
      </a:dk1>
      <a:lt1>
        <a:sysClr val="window" lastClr="FFFFFF"/>
      </a:lt1>
      <a:dk2>
        <a:srgbClr val="00802F"/>
      </a:dk2>
      <a:lt2>
        <a:srgbClr val="CCCCCC"/>
      </a:lt2>
      <a:accent1>
        <a:srgbClr val="00802F"/>
      </a:accent1>
      <a:accent2>
        <a:srgbClr val="ACCC3D"/>
      </a:accent2>
      <a:accent3>
        <a:srgbClr val="0067B1"/>
      </a:accent3>
      <a:accent4>
        <a:srgbClr val="95C7E8"/>
      </a:accent4>
      <a:accent5>
        <a:srgbClr val="666666"/>
      </a:accent5>
      <a:accent6>
        <a:srgbClr val="999999"/>
      </a:accent6>
      <a:hlink>
        <a:srgbClr val="95C7E8"/>
      </a:hlink>
      <a:folHlink>
        <a:srgbClr val="000000"/>
      </a:folHlink>
    </a:clrScheme>
    <a:fontScheme name="UNISG CD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>
            <a:lumMod val="20000"/>
            <a:lumOff val="80000"/>
          </a:schemeClr>
        </a:solidFill>
        <a:ln>
          <a:solidFill>
            <a:schemeClr val="tx2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PT Template" id="{EB35C314-6BC3-9940-958B-8629B7D17C73}" vid="{8F6522FF-69EC-7847-9AD7-D57852467808}"/>
    </a:ext>
  </a:ext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42A1F3827DA71F448DAC5F4A257F5665" ma:contentTypeVersion="2" ma:contentTypeDescription="Ein neues Dokument erstellen." ma:contentTypeScope="" ma:versionID="1e717dbfa7b7207dfac07c69acddd338">
  <xsd:schema xmlns:xsd="http://www.w3.org/2001/XMLSchema" xmlns:xs="http://www.w3.org/2001/XMLSchema" xmlns:p="http://schemas.microsoft.com/office/2006/metadata/properties" xmlns:ns2="3f370a08-1e6d-4642-a4b6-b6d852aed5f0" targetNamespace="http://schemas.microsoft.com/office/2006/metadata/properties" ma:root="true" ma:fieldsID="1ec3ffebd306b5464ea0dbf21c509c56" ns2:_="">
    <xsd:import namespace="3f370a08-1e6d-4642-a4b6-b6d852aed5f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f370a08-1e6d-4642-a4b6-b6d852aed5f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227BC059-E0DB-465B-8EBC-D93BDF57261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DBBB883-F70B-43A4-B01A-B7F597F7B7EF}">
  <ds:schemaRefs>
    <ds:schemaRef ds:uri="3f370a08-1e6d-4642-a4b6-b6d852aed5f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0E366B1C-28CE-4544-97EB-72C55EF781EC}">
  <ds:schemaRefs>
    <ds:schemaRef ds:uri="3f370a08-1e6d-4642-a4b6-b6d852aed5f0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WI3 Layout</Template>
  <TotalTime>0</TotalTime>
  <Words>1045</Words>
  <Application>Microsoft Macintosh PowerPoint</Application>
  <PresentationFormat>Bildschirmpräsentation (16:9)</PresentationFormat>
  <Paragraphs>121</Paragraphs>
  <Slides>10</Slides>
  <Notes>7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0</vt:i4>
      </vt:variant>
    </vt:vector>
  </HeadingPairs>
  <TitlesOfParts>
    <vt:vector size="16" baseType="lpstr">
      <vt:lpstr>Arial</vt:lpstr>
      <vt:lpstr>Calibri</vt:lpstr>
      <vt:lpstr>Calibri Light</vt:lpstr>
      <vt:lpstr>Helvetica</vt:lpstr>
      <vt:lpstr>IWI3 Layout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arxer, NicoleSarina</dc:creator>
  <cp:lastModifiedBy>Philipp Schmelzer</cp:lastModifiedBy>
  <cp:revision>26</cp:revision>
  <cp:lastPrinted>2020-03-29T12:41:23Z</cp:lastPrinted>
  <dcterms:created xsi:type="dcterms:W3CDTF">2019-10-08T08:06:46Z</dcterms:created>
  <dcterms:modified xsi:type="dcterms:W3CDTF">2021-01-12T09:57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2A1F3827DA71F448DAC5F4A257F5665</vt:lpwstr>
  </property>
</Properties>
</file>